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20"/>
  </p:notesMasterIdLst>
  <p:handoutMasterIdLst>
    <p:handoutMasterId r:id="rId21"/>
  </p:handoutMasterIdLst>
  <p:sldIdLst>
    <p:sldId id="427" r:id="rId2"/>
    <p:sldId id="264" r:id="rId3"/>
    <p:sldId id="265" r:id="rId4"/>
    <p:sldId id="267" r:id="rId5"/>
    <p:sldId id="405" r:id="rId6"/>
    <p:sldId id="409" r:id="rId7"/>
    <p:sldId id="408" r:id="rId8"/>
    <p:sldId id="412" r:id="rId9"/>
    <p:sldId id="420" r:id="rId10"/>
    <p:sldId id="421" r:id="rId11"/>
    <p:sldId id="419" r:id="rId12"/>
    <p:sldId id="422" r:id="rId13"/>
    <p:sldId id="413" r:id="rId14"/>
    <p:sldId id="423" r:id="rId15"/>
    <p:sldId id="424" r:id="rId16"/>
    <p:sldId id="411" r:id="rId17"/>
    <p:sldId id="410" r:id="rId18"/>
    <p:sldId id="426" r:id="rId19"/>
  </p:sldIdLst>
  <p:sldSz cx="12192000" cy="6858000"/>
  <p:notesSz cx="6858000" cy="9144000"/>
  <p:custDataLst>
    <p:tags r:id="rId2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27"/>
            <p14:sldId id="264"/>
            <p14:sldId id="265"/>
            <p14:sldId id="267"/>
            <p14:sldId id="405"/>
            <p14:sldId id="409"/>
            <p14:sldId id="408"/>
            <p14:sldId id="412"/>
            <p14:sldId id="420"/>
            <p14:sldId id="421"/>
            <p14:sldId id="419"/>
            <p14:sldId id="422"/>
            <p14:sldId id="413"/>
            <p14:sldId id="423"/>
            <p14:sldId id="424"/>
            <p14:sldId id="411"/>
            <p14:sldId id="410"/>
            <p14:sldId id="426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007DB7"/>
    <a:srgbClr val="000080"/>
    <a:srgbClr val="087BB1"/>
    <a:srgbClr val="007DBF"/>
    <a:srgbClr val="0579BF"/>
    <a:srgbClr val="D1B71B"/>
    <a:srgbClr val="685046"/>
    <a:srgbClr val="FF7E83"/>
    <a:srgbClr val="2B0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5291" autoAdjust="0"/>
  </p:normalViewPr>
  <p:slideViewPr>
    <p:cSldViewPr>
      <p:cViewPr varScale="1">
        <p:scale>
          <a:sx n="76" d="100"/>
          <a:sy n="76" d="100"/>
        </p:scale>
        <p:origin x="54" y="768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C6412A-1C72-45E7-B093-6C34182789D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1CFB39FB-280C-44EB-A6F0-A174007229BF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IN" dirty="0" smtClean="0"/>
            <a:t>Buy/Sell Gold</a:t>
          </a:r>
          <a:endParaRPr lang="en-IN" dirty="0"/>
        </a:p>
      </dgm:t>
    </dgm:pt>
    <dgm:pt modelId="{F0685A36-E3B6-4E4A-B4A9-EF6BA6988BBE}" type="parTrans" cxnId="{0FE73BA0-AF68-44F5-AA32-49C396345311}">
      <dgm:prSet/>
      <dgm:spPr/>
      <dgm:t>
        <a:bodyPr/>
        <a:lstStyle/>
        <a:p>
          <a:endParaRPr lang="en-IN"/>
        </a:p>
      </dgm:t>
    </dgm:pt>
    <dgm:pt modelId="{D5395932-C59A-47BB-9902-936C2985C8A3}" type="sibTrans" cxnId="{0FE73BA0-AF68-44F5-AA32-49C396345311}">
      <dgm:prSet/>
      <dgm:spPr/>
      <dgm:t>
        <a:bodyPr/>
        <a:lstStyle/>
        <a:p>
          <a:endParaRPr lang="en-IN"/>
        </a:p>
      </dgm:t>
    </dgm:pt>
    <dgm:pt modelId="{FBB9CD9D-CA6E-4439-89DF-A5F52972C50D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IN" dirty="0" smtClean="0"/>
            <a:t>Buy/Sell Silver</a:t>
          </a:r>
          <a:endParaRPr lang="en-IN" dirty="0"/>
        </a:p>
      </dgm:t>
    </dgm:pt>
    <dgm:pt modelId="{897FB5DE-22D4-4EC2-BD93-4B907E9D8AB3}" type="parTrans" cxnId="{E6B7DA9F-153E-4E39-920C-EA3EC3BA270A}">
      <dgm:prSet/>
      <dgm:spPr/>
      <dgm:t>
        <a:bodyPr/>
        <a:lstStyle/>
        <a:p>
          <a:endParaRPr lang="en-IN"/>
        </a:p>
      </dgm:t>
    </dgm:pt>
    <dgm:pt modelId="{9A6B0D93-DF7C-4B6F-85D2-9A9FFAA8F8B0}" type="sibTrans" cxnId="{E6B7DA9F-153E-4E39-920C-EA3EC3BA270A}">
      <dgm:prSet/>
      <dgm:spPr/>
      <dgm:t>
        <a:bodyPr/>
        <a:lstStyle/>
        <a:p>
          <a:endParaRPr lang="en-IN"/>
        </a:p>
      </dgm:t>
    </dgm:pt>
    <dgm:pt modelId="{F75EE1DC-BA1C-4DA7-A000-6D02D3D5A9DE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N" dirty="0" smtClean="0"/>
            <a:t>Invest/Withdraw Mutual Funds</a:t>
          </a:r>
          <a:endParaRPr lang="en-IN" dirty="0"/>
        </a:p>
      </dgm:t>
    </dgm:pt>
    <dgm:pt modelId="{169AD7E2-5829-4B7A-9E83-47FBD6231348}" type="parTrans" cxnId="{AFED28C4-5D1A-4997-A671-A58B2E740F83}">
      <dgm:prSet/>
      <dgm:spPr/>
      <dgm:t>
        <a:bodyPr/>
        <a:lstStyle/>
        <a:p>
          <a:endParaRPr lang="en-IN"/>
        </a:p>
      </dgm:t>
    </dgm:pt>
    <dgm:pt modelId="{F47271E8-1553-4DA6-B322-71D0F5E4BF36}" type="sibTrans" cxnId="{AFED28C4-5D1A-4997-A671-A58B2E740F83}">
      <dgm:prSet/>
      <dgm:spPr/>
      <dgm:t>
        <a:bodyPr/>
        <a:lstStyle/>
        <a:p>
          <a:endParaRPr lang="en-IN"/>
        </a:p>
      </dgm:t>
    </dgm:pt>
    <dgm:pt modelId="{138B05EE-6AAC-4BB2-966A-7142DD16C352}">
      <dgm:prSet phldrT="[Text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IN" dirty="0" smtClean="0"/>
            <a:t>View Investments</a:t>
          </a:r>
          <a:endParaRPr lang="en-IN" dirty="0"/>
        </a:p>
      </dgm:t>
    </dgm:pt>
    <dgm:pt modelId="{380359B1-DFB0-4E9F-9D5E-91D68BE2C20D}" type="parTrans" cxnId="{A456BC98-174B-4323-B519-7FB3EFFDF26B}">
      <dgm:prSet/>
      <dgm:spPr/>
      <dgm:t>
        <a:bodyPr/>
        <a:lstStyle/>
        <a:p>
          <a:endParaRPr lang="en-IN"/>
        </a:p>
      </dgm:t>
    </dgm:pt>
    <dgm:pt modelId="{0839B2BD-3AA8-494D-B570-DB99170350F7}" type="sibTrans" cxnId="{A456BC98-174B-4323-B519-7FB3EFFDF26B}">
      <dgm:prSet/>
      <dgm:spPr/>
      <dgm:t>
        <a:bodyPr/>
        <a:lstStyle/>
        <a:p>
          <a:endParaRPr lang="en-IN"/>
        </a:p>
      </dgm:t>
    </dgm:pt>
    <dgm:pt modelId="{8195F961-8EA2-4B23-9195-4B8C04EB0340}">
      <dgm:prSet phldrT="[Text]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en-IN" dirty="0" smtClean="0"/>
            <a:t>View Gold/Silver Price</a:t>
          </a:r>
          <a:endParaRPr lang="en-IN" dirty="0"/>
        </a:p>
      </dgm:t>
    </dgm:pt>
    <dgm:pt modelId="{4255E008-A409-4C77-BBD7-114836AC8A86}" type="parTrans" cxnId="{57EF3E8A-4428-4958-BE10-AAA8AB89D725}">
      <dgm:prSet/>
      <dgm:spPr/>
      <dgm:t>
        <a:bodyPr/>
        <a:lstStyle/>
        <a:p>
          <a:endParaRPr lang="en-IN"/>
        </a:p>
      </dgm:t>
    </dgm:pt>
    <dgm:pt modelId="{1DCBED05-482B-47BB-818A-FED89D86CDBB}" type="sibTrans" cxnId="{57EF3E8A-4428-4958-BE10-AAA8AB89D725}">
      <dgm:prSet/>
      <dgm:spPr/>
      <dgm:t>
        <a:bodyPr/>
        <a:lstStyle/>
        <a:p>
          <a:endParaRPr lang="en-IN"/>
        </a:p>
      </dgm:t>
    </dgm:pt>
    <dgm:pt modelId="{B4093ED3-E90B-4257-AA91-C150BDCE41FE}">
      <dgm:prSet/>
      <dgm:spPr>
        <a:solidFill>
          <a:srgbClr val="685046"/>
        </a:solidFill>
      </dgm:spPr>
      <dgm:t>
        <a:bodyPr/>
        <a:lstStyle/>
        <a:p>
          <a:r>
            <a:rPr lang="en-IN" dirty="0" smtClean="0"/>
            <a:t>View Mutual Fund Plans</a:t>
          </a:r>
          <a:endParaRPr lang="en-IN" dirty="0"/>
        </a:p>
      </dgm:t>
    </dgm:pt>
    <dgm:pt modelId="{D325235E-9CF7-4F8B-A868-B678B9A15CF9}" type="parTrans" cxnId="{86B03610-7B24-4444-9483-28E861705425}">
      <dgm:prSet/>
      <dgm:spPr/>
      <dgm:t>
        <a:bodyPr/>
        <a:lstStyle/>
        <a:p>
          <a:endParaRPr lang="en-IN"/>
        </a:p>
      </dgm:t>
    </dgm:pt>
    <dgm:pt modelId="{A6D0F1FA-D3DA-4BDF-AB5B-85CD4620CBE7}" type="sibTrans" cxnId="{86B03610-7B24-4444-9483-28E861705425}">
      <dgm:prSet/>
      <dgm:spPr/>
      <dgm:t>
        <a:bodyPr/>
        <a:lstStyle/>
        <a:p>
          <a:endParaRPr lang="en-IN"/>
        </a:p>
      </dgm:t>
    </dgm:pt>
    <dgm:pt modelId="{1AA6CC34-35DB-4550-A2F8-690721F12E96}">
      <dgm:prSet/>
      <dgm:spPr>
        <a:solidFill>
          <a:srgbClr val="D1B71B"/>
        </a:solidFill>
      </dgm:spPr>
      <dgm:t>
        <a:bodyPr/>
        <a:lstStyle/>
        <a:p>
          <a:r>
            <a:rPr lang="en-IN" dirty="0" smtClean="0"/>
            <a:t>View My Transactions</a:t>
          </a:r>
          <a:endParaRPr lang="en-IN" dirty="0"/>
        </a:p>
      </dgm:t>
    </dgm:pt>
    <dgm:pt modelId="{8E103D5A-F4BE-40B5-8B96-FCD6EC1027B6}" type="parTrans" cxnId="{1B2A18E4-8360-4E3F-9A21-C81DEF13F4C3}">
      <dgm:prSet/>
      <dgm:spPr/>
      <dgm:t>
        <a:bodyPr/>
        <a:lstStyle/>
        <a:p>
          <a:endParaRPr lang="en-IN"/>
        </a:p>
      </dgm:t>
    </dgm:pt>
    <dgm:pt modelId="{F8BCAD93-BC2A-4004-B140-58CF1B676CDF}" type="sibTrans" cxnId="{1B2A18E4-8360-4E3F-9A21-C81DEF13F4C3}">
      <dgm:prSet/>
      <dgm:spPr/>
      <dgm:t>
        <a:bodyPr/>
        <a:lstStyle/>
        <a:p>
          <a:endParaRPr lang="en-IN"/>
        </a:p>
      </dgm:t>
    </dgm:pt>
    <dgm:pt modelId="{CF391ADD-379F-4BF5-A155-261E9B312690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N" dirty="0" smtClean="0"/>
            <a:t>Link New Account</a:t>
          </a:r>
          <a:endParaRPr lang="en-IN" dirty="0"/>
        </a:p>
      </dgm:t>
    </dgm:pt>
    <dgm:pt modelId="{3251B56B-4F17-42E9-A607-5FBC34600ED9}" type="parTrans" cxnId="{34E1E7EE-83A9-4D49-BC87-DF140494D0C9}">
      <dgm:prSet/>
      <dgm:spPr/>
      <dgm:t>
        <a:bodyPr/>
        <a:lstStyle/>
        <a:p>
          <a:endParaRPr lang="en-IN"/>
        </a:p>
      </dgm:t>
    </dgm:pt>
    <dgm:pt modelId="{1C08A977-E9FD-4A93-B8F6-A3EEFA68CBC1}" type="sibTrans" cxnId="{34E1E7EE-83A9-4D49-BC87-DF140494D0C9}">
      <dgm:prSet/>
      <dgm:spPr/>
      <dgm:t>
        <a:bodyPr/>
        <a:lstStyle/>
        <a:p>
          <a:endParaRPr lang="en-IN"/>
        </a:p>
      </dgm:t>
    </dgm:pt>
    <dgm:pt modelId="{F3E9E5CA-21EB-40FF-AA5A-25BEE92CD992}" type="pres">
      <dgm:prSet presAssocID="{BDC6412A-1C72-45E7-B093-6C34182789D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7777D70A-8F84-448D-B65C-9CEFA592EB1E}" type="pres">
      <dgm:prSet presAssocID="{1CFB39FB-280C-44EB-A6F0-A174007229BF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AD0DDEA-9943-43D7-820C-0B5FA9E98266}" type="pres">
      <dgm:prSet presAssocID="{D5395932-C59A-47BB-9902-936C2985C8A3}" presName="sibTrans" presStyleCnt="0"/>
      <dgm:spPr/>
    </dgm:pt>
    <dgm:pt modelId="{A91BB8FC-1B5E-467F-8427-6F9C485935F6}" type="pres">
      <dgm:prSet presAssocID="{FBB9CD9D-CA6E-4439-89DF-A5F52972C50D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C39F0C6-99DF-483D-84EF-64794076A007}" type="pres">
      <dgm:prSet presAssocID="{9A6B0D93-DF7C-4B6F-85D2-9A9FFAA8F8B0}" presName="sibTrans" presStyleCnt="0"/>
      <dgm:spPr/>
    </dgm:pt>
    <dgm:pt modelId="{FDFF671F-6474-4C5C-8916-0AF4FBF5F629}" type="pres">
      <dgm:prSet presAssocID="{F75EE1DC-BA1C-4DA7-A000-6D02D3D5A9DE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DF76E88-FFEA-42A5-996B-A8F15CD55737}" type="pres">
      <dgm:prSet presAssocID="{F47271E8-1553-4DA6-B322-71D0F5E4BF36}" presName="sibTrans" presStyleCnt="0"/>
      <dgm:spPr/>
    </dgm:pt>
    <dgm:pt modelId="{ACA169C6-EA56-4816-9563-7A45CBC4432C}" type="pres">
      <dgm:prSet presAssocID="{138B05EE-6AAC-4BB2-966A-7142DD16C352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7F81C5F-0AE0-4E58-AA4B-2EDC1D27D2FB}" type="pres">
      <dgm:prSet presAssocID="{0839B2BD-3AA8-494D-B570-DB99170350F7}" presName="sibTrans" presStyleCnt="0"/>
      <dgm:spPr/>
    </dgm:pt>
    <dgm:pt modelId="{E72FC12C-79A9-4270-9566-52715F98650D}" type="pres">
      <dgm:prSet presAssocID="{8195F961-8EA2-4B23-9195-4B8C04EB0340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5CAD352-892C-4348-A395-346B1609720E}" type="pres">
      <dgm:prSet presAssocID="{1DCBED05-482B-47BB-818A-FED89D86CDBB}" presName="sibTrans" presStyleCnt="0"/>
      <dgm:spPr/>
    </dgm:pt>
    <dgm:pt modelId="{4A2A826A-9C71-4510-AEFA-B2B4D3F01572}" type="pres">
      <dgm:prSet presAssocID="{B4093ED3-E90B-4257-AA91-C150BDCE41FE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D37CBDA-D917-490F-8E5C-EA392E72E1DB}" type="pres">
      <dgm:prSet presAssocID="{A6D0F1FA-D3DA-4BDF-AB5B-85CD4620CBE7}" presName="sibTrans" presStyleCnt="0"/>
      <dgm:spPr/>
    </dgm:pt>
    <dgm:pt modelId="{F40A48D0-2274-403C-B832-59A9F085ECF9}" type="pres">
      <dgm:prSet presAssocID="{1AA6CC34-35DB-4550-A2F8-690721F12E96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363C7F-61DF-4F1E-8840-0B0A36B8B93E}" type="pres">
      <dgm:prSet presAssocID="{F8BCAD93-BC2A-4004-B140-58CF1B676CDF}" presName="sibTrans" presStyleCnt="0"/>
      <dgm:spPr/>
    </dgm:pt>
    <dgm:pt modelId="{4F136215-65DB-45D6-BDB7-CE206B28A16A}" type="pres">
      <dgm:prSet presAssocID="{CF391ADD-379F-4BF5-A155-261E9B312690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4E1E7EE-83A9-4D49-BC87-DF140494D0C9}" srcId="{BDC6412A-1C72-45E7-B093-6C34182789D0}" destId="{CF391ADD-379F-4BF5-A155-261E9B312690}" srcOrd="7" destOrd="0" parTransId="{3251B56B-4F17-42E9-A607-5FBC34600ED9}" sibTransId="{1C08A977-E9FD-4A93-B8F6-A3EEFA68CBC1}"/>
    <dgm:cxn modelId="{1B2A18E4-8360-4E3F-9A21-C81DEF13F4C3}" srcId="{BDC6412A-1C72-45E7-B093-6C34182789D0}" destId="{1AA6CC34-35DB-4550-A2F8-690721F12E96}" srcOrd="6" destOrd="0" parTransId="{8E103D5A-F4BE-40B5-8B96-FCD6EC1027B6}" sibTransId="{F8BCAD93-BC2A-4004-B140-58CF1B676CDF}"/>
    <dgm:cxn modelId="{A02C610D-AEB7-4202-AAE6-B5591E336817}" type="presOf" srcId="{8195F961-8EA2-4B23-9195-4B8C04EB0340}" destId="{E72FC12C-79A9-4270-9566-52715F98650D}" srcOrd="0" destOrd="0" presId="urn:microsoft.com/office/officeart/2005/8/layout/default"/>
    <dgm:cxn modelId="{032528B2-1394-435F-86EE-8C4A5BAFD5F7}" type="presOf" srcId="{BDC6412A-1C72-45E7-B093-6C34182789D0}" destId="{F3E9E5CA-21EB-40FF-AA5A-25BEE92CD992}" srcOrd="0" destOrd="0" presId="urn:microsoft.com/office/officeart/2005/8/layout/default"/>
    <dgm:cxn modelId="{AFED28C4-5D1A-4997-A671-A58B2E740F83}" srcId="{BDC6412A-1C72-45E7-B093-6C34182789D0}" destId="{F75EE1DC-BA1C-4DA7-A000-6D02D3D5A9DE}" srcOrd="2" destOrd="0" parTransId="{169AD7E2-5829-4B7A-9E83-47FBD6231348}" sibTransId="{F47271E8-1553-4DA6-B322-71D0F5E4BF36}"/>
    <dgm:cxn modelId="{1CB26570-F51B-4ED3-8EBC-BC42CC0A0E8C}" type="presOf" srcId="{B4093ED3-E90B-4257-AA91-C150BDCE41FE}" destId="{4A2A826A-9C71-4510-AEFA-B2B4D3F01572}" srcOrd="0" destOrd="0" presId="urn:microsoft.com/office/officeart/2005/8/layout/default"/>
    <dgm:cxn modelId="{A456BC98-174B-4323-B519-7FB3EFFDF26B}" srcId="{BDC6412A-1C72-45E7-B093-6C34182789D0}" destId="{138B05EE-6AAC-4BB2-966A-7142DD16C352}" srcOrd="3" destOrd="0" parTransId="{380359B1-DFB0-4E9F-9D5E-91D68BE2C20D}" sibTransId="{0839B2BD-3AA8-494D-B570-DB99170350F7}"/>
    <dgm:cxn modelId="{86B03610-7B24-4444-9483-28E861705425}" srcId="{BDC6412A-1C72-45E7-B093-6C34182789D0}" destId="{B4093ED3-E90B-4257-AA91-C150BDCE41FE}" srcOrd="5" destOrd="0" parTransId="{D325235E-9CF7-4F8B-A868-B678B9A15CF9}" sibTransId="{A6D0F1FA-D3DA-4BDF-AB5B-85CD4620CBE7}"/>
    <dgm:cxn modelId="{57EF3E8A-4428-4958-BE10-AAA8AB89D725}" srcId="{BDC6412A-1C72-45E7-B093-6C34182789D0}" destId="{8195F961-8EA2-4B23-9195-4B8C04EB0340}" srcOrd="4" destOrd="0" parTransId="{4255E008-A409-4C77-BBD7-114836AC8A86}" sibTransId="{1DCBED05-482B-47BB-818A-FED89D86CDBB}"/>
    <dgm:cxn modelId="{C151A0B7-C52C-4BFB-B042-D2C3A6EBD35C}" type="presOf" srcId="{F75EE1DC-BA1C-4DA7-A000-6D02D3D5A9DE}" destId="{FDFF671F-6474-4C5C-8916-0AF4FBF5F629}" srcOrd="0" destOrd="0" presId="urn:microsoft.com/office/officeart/2005/8/layout/default"/>
    <dgm:cxn modelId="{B4F52528-AD8C-499C-9228-5ECD1A1E027E}" type="presOf" srcId="{138B05EE-6AAC-4BB2-966A-7142DD16C352}" destId="{ACA169C6-EA56-4816-9563-7A45CBC4432C}" srcOrd="0" destOrd="0" presId="urn:microsoft.com/office/officeart/2005/8/layout/default"/>
    <dgm:cxn modelId="{A4967C54-C8D1-4C1F-8FFE-8EFA59C0BC5A}" type="presOf" srcId="{1AA6CC34-35DB-4550-A2F8-690721F12E96}" destId="{F40A48D0-2274-403C-B832-59A9F085ECF9}" srcOrd="0" destOrd="0" presId="urn:microsoft.com/office/officeart/2005/8/layout/default"/>
    <dgm:cxn modelId="{0FE73BA0-AF68-44F5-AA32-49C396345311}" srcId="{BDC6412A-1C72-45E7-B093-6C34182789D0}" destId="{1CFB39FB-280C-44EB-A6F0-A174007229BF}" srcOrd="0" destOrd="0" parTransId="{F0685A36-E3B6-4E4A-B4A9-EF6BA6988BBE}" sibTransId="{D5395932-C59A-47BB-9902-936C2985C8A3}"/>
    <dgm:cxn modelId="{65EC1773-8320-4446-A857-3036AE01B8A1}" type="presOf" srcId="{CF391ADD-379F-4BF5-A155-261E9B312690}" destId="{4F136215-65DB-45D6-BDB7-CE206B28A16A}" srcOrd="0" destOrd="0" presId="urn:microsoft.com/office/officeart/2005/8/layout/default"/>
    <dgm:cxn modelId="{E6B7DA9F-153E-4E39-920C-EA3EC3BA270A}" srcId="{BDC6412A-1C72-45E7-B093-6C34182789D0}" destId="{FBB9CD9D-CA6E-4439-89DF-A5F52972C50D}" srcOrd="1" destOrd="0" parTransId="{897FB5DE-22D4-4EC2-BD93-4B907E9D8AB3}" sibTransId="{9A6B0D93-DF7C-4B6F-85D2-9A9FFAA8F8B0}"/>
    <dgm:cxn modelId="{AD6D997F-7DB7-471A-ABB9-A7605653A17C}" type="presOf" srcId="{FBB9CD9D-CA6E-4439-89DF-A5F52972C50D}" destId="{A91BB8FC-1B5E-467F-8427-6F9C485935F6}" srcOrd="0" destOrd="0" presId="urn:microsoft.com/office/officeart/2005/8/layout/default"/>
    <dgm:cxn modelId="{159999CC-7DA6-4944-8F0F-441B165F8F06}" type="presOf" srcId="{1CFB39FB-280C-44EB-A6F0-A174007229BF}" destId="{7777D70A-8F84-448D-B65C-9CEFA592EB1E}" srcOrd="0" destOrd="0" presId="urn:microsoft.com/office/officeart/2005/8/layout/default"/>
    <dgm:cxn modelId="{705F639D-634F-4D57-BE71-529CE8CA370F}" type="presParOf" srcId="{F3E9E5CA-21EB-40FF-AA5A-25BEE92CD992}" destId="{7777D70A-8F84-448D-B65C-9CEFA592EB1E}" srcOrd="0" destOrd="0" presId="urn:microsoft.com/office/officeart/2005/8/layout/default"/>
    <dgm:cxn modelId="{4BC26373-4227-4B1A-A177-09FB5CC77AF8}" type="presParOf" srcId="{F3E9E5CA-21EB-40FF-AA5A-25BEE92CD992}" destId="{9AD0DDEA-9943-43D7-820C-0B5FA9E98266}" srcOrd="1" destOrd="0" presId="urn:microsoft.com/office/officeart/2005/8/layout/default"/>
    <dgm:cxn modelId="{F2D02330-284D-436B-9E8F-9EDCAB5895BB}" type="presParOf" srcId="{F3E9E5CA-21EB-40FF-AA5A-25BEE92CD992}" destId="{A91BB8FC-1B5E-467F-8427-6F9C485935F6}" srcOrd="2" destOrd="0" presId="urn:microsoft.com/office/officeart/2005/8/layout/default"/>
    <dgm:cxn modelId="{8EE17501-5BFF-42B6-85FE-FDF9543CC640}" type="presParOf" srcId="{F3E9E5CA-21EB-40FF-AA5A-25BEE92CD992}" destId="{5C39F0C6-99DF-483D-84EF-64794076A007}" srcOrd="3" destOrd="0" presId="urn:microsoft.com/office/officeart/2005/8/layout/default"/>
    <dgm:cxn modelId="{1F7F49DC-1E62-4221-B470-02889A329FC0}" type="presParOf" srcId="{F3E9E5CA-21EB-40FF-AA5A-25BEE92CD992}" destId="{FDFF671F-6474-4C5C-8916-0AF4FBF5F629}" srcOrd="4" destOrd="0" presId="urn:microsoft.com/office/officeart/2005/8/layout/default"/>
    <dgm:cxn modelId="{95E00638-6A9F-4902-89E7-C257EC56CEAA}" type="presParOf" srcId="{F3E9E5CA-21EB-40FF-AA5A-25BEE92CD992}" destId="{6DF76E88-FFEA-42A5-996B-A8F15CD55737}" srcOrd="5" destOrd="0" presId="urn:microsoft.com/office/officeart/2005/8/layout/default"/>
    <dgm:cxn modelId="{5D54F199-0736-47F9-B6FE-DA9FF979545F}" type="presParOf" srcId="{F3E9E5CA-21EB-40FF-AA5A-25BEE92CD992}" destId="{ACA169C6-EA56-4816-9563-7A45CBC4432C}" srcOrd="6" destOrd="0" presId="urn:microsoft.com/office/officeart/2005/8/layout/default"/>
    <dgm:cxn modelId="{6B8A8CD9-8777-44C4-813C-CB8A876CA687}" type="presParOf" srcId="{F3E9E5CA-21EB-40FF-AA5A-25BEE92CD992}" destId="{97F81C5F-0AE0-4E58-AA4B-2EDC1D27D2FB}" srcOrd="7" destOrd="0" presId="urn:microsoft.com/office/officeart/2005/8/layout/default"/>
    <dgm:cxn modelId="{23FB77A8-B850-4601-877E-CD72DCD01A5E}" type="presParOf" srcId="{F3E9E5CA-21EB-40FF-AA5A-25BEE92CD992}" destId="{E72FC12C-79A9-4270-9566-52715F98650D}" srcOrd="8" destOrd="0" presId="urn:microsoft.com/office/officeart/2005/8/layout/default"/>
    <dgm:cxn modelId="{15E0F546-A89B-4B46-A077-E07E87345055}" type="presParOf" srcId="{F3E9E5CA-21EB-40FF-AA5A-25BEE92CD992}" destId="{35CAD352-892C-4348-A395-346B1609720E}" srcOrd="9" destOrd="0" presId="urn:microsoft.com/office/officeart/2005/8/layout/default"/>
    <dgm:cxn modelId="{F1901F78-1D81-4F95-B68D-227F7773F36C}" type="presParOf" srcId="{F3E9E5CA-21EB-40FF-AA5A-25BEE92CD992}" destId="{4A2A826A-9C71-4510-AEFA-B2B4D3F01572}" srcOrd="10" destOrd="0" presId="urn:microsoft.com/office/officeart/2005/8/layout/default"/>
    <dgm:cxn modelId="{204947FD-DEDA-45B0-8596-C7D58AC58D09}" type="presParOf" srcId="{F3E9E5CA-21EB-40FF-AA5A-25BEE92CD992}" destId="{1D37CBDA-D917-490F-8E5C-EA392E72E1DB}" srcOrd="11" destOrd="0" presId="urn:microsoft.com/office/officeart/2005/8/layout/default"/>
    <dgm:cxn modelId="{B31DD6CC-1763-4874-94AE-55AFDD36529C}" type="presParOf" srcId="{F3E9E5CA-21EB-40FF-AA5A-25BEE92CD992}" destId="{F40A48D0-2274-403C-B832-59A9F085ECF9}" srcOrd="12" destOrd="0" presId="urn:microsoft.com/office/officeart/2005/8/layout/default"/>
    <dgm:cxn modelId="{83B34504-F8AB-46E7-AC6F-EBAE4D572A57}" type="presParOf" srcId="{F3E9E5CA-21EB-40FF-AA5A-25BEE92CD992}" destId="{3F363C7F-61DF-4F1E-8840-0B0A36B8B93E}" srcOrd="13" destOrd="0" presId="urn:microsoft.com/office/officeart/2005/8/layout/default"/>
    <dgm:cxn modelId="{E9A6E27D-F0E2-47EA-8F8A-81BDB7B52180}" type="presParOf" srcId="{F3E9E5CA-21EB-40FF-AA5A-25BEE92CD992}" destId="{4F136215-65DB-45D6-BDB7-CE206B28A16A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7052D9-1570-49EA-8941-504494551AB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753D9E4-B481-42BF-87B3-66FEF8B279E9}">
      <dgm:prSet phldrT="[Text]"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IN" dirty="0" smtClean="0"/>
            <a:t>Updates Gold Price</a:t>
          </a:r>
          <a:endParaRPr lang="en-IN" dirty="0"/>
        </a:p>
      </dgm:t>
    </dgm:pt>
    <dgm:pt modelId="{79795610-9416-4016-8E2B-93EC83BA33E1}" type="parTrans" cxnId="{12D660E5-642E-4A8A-9F94-11A6568ACE7E}">
      <dgm:prSet/>
      <dgm:spPr/>
      <dgm:t>
        <a:bodyPr/>
        <a:lstStyle/>
        <a:p>
          <a:endParaRPr lang="en-IN"/>
        </a:p>
      </dgm:t>
    </dgm:pt>
    <dgm:pt modelId="{126DFC56-2045-40A8-91DE-39E7C8C2A93A}" type="sibTrans" cxnId="{12D660E5-642E-4A8A-9F94-11A6568ACE7E}">
      <dgm:prSet/>
      <dgm:spPr/>
      <dgm:t>
        <a:bodyPr/>
        <a:lstStyle/>
        <a:p>
          <a:endParaRPr lang="en-IN"/>
        </a:p>
      </dgm:t>
    </dgm:pt>
    <dgm:pt modelId="{2CBE35D1-1A50-420F-BF6B-C5E916983D33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IN" dirty="0" smtClean="0"/>
            <a:t>Updates Silver Price</a:t>
          </a:r>
          <a:endParaRPr lang="en-IN" dirty="0"/>
        </a:p>
      </dgm:t>
    </dgm:pt>
    <dgm:pt modelId="{7E5BB5AE-0D02-438D-A2FC-679388B6CFF8}" type="parTrans" cxnId="{1B968585-6668-4B28-BA64-38A10E875EBA}">
      <dgm:prSet/>
      <dgm:spPr/>
      <dgm:t>
        <a:bodyPr/>
        <a:lstStyle/>
        <a:p>
          <a:endParaRPr lang="en-IN"/>
        </a:p>
      </dgm:t>
    </dgm:pt>
    <dgm:pt modelId="{5BA9A28E-ACDE-44DD-A3C4-B4E7ABCDD773}" type="sibTrans" cxnId="{1B968585-6668-4B28-BA64-38A10E875EBA}">
      <dgm:prSet/>
      <dgm:spPr/>
      <dgm:t>
        <a:bodyPr/>
        <a:lstStyle/>
        <a:p>
          <a:endParaRPr lang="en-IN"/>
        </a:p>
      </dgm:t>
    </dgm:pt>
    <dgm:pt modelId="{CCC012CA-B249-4C3B-8B40-B38A21F49715}">
      <dgm:prSet phldrT="[Text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IN" dirty="0" smtClean="0"/>
            <a:t>Add Mutual Fund plans</a:t>
          </a:r>
          <a:endParaRPr lang="en-IN" dirty="0"/>
        </a:p>
      </dgm:t>
    </dgm:pt>
    <dgm:pt modelId="{F31C7BE4-5CD9-4847-8FC0-5F117006E067}" type="parTrans" cxnId="{FE10651B-6A64-4E83-9007-8895798C1303}">
      <dgm:prSet/>
      <dgm:spPr/>
      <dgm:t>
        <a:bodyPr/>
        <a:lstStyle/>
        <a:p>
          <a:endParaRPr lang="en-IN"/>
        </a:p>
      </dgm:t>
    </dgm:pt>
    <dgm:pt modelId="{5DFDECC3-F7ED-459C-A2F6-04FB83D064CC}" type="sibTrans" cxnId="{FE10651B-6A64-4E83-9007-8895798C1303}">
      <dgm:prSet/>
      <dgm:spPr/>
      <dgm:t>
        <a:bodyPr/>
        <a:lstStyle/>
        <a:p>
          <a:endParaRPr lang="en-IN"/>
        </a:p>
      </dgm:t>
    </dgm:pt>
    <dgm:pt modelId="{A595A0EA-14D5-40AF-8D7F-169BBF8ACBDD}">
      <dgm:prSet/>
      <dgm:spPr/>
      <dgm:t>
        <a:bodyPr/>
        <a:lstStyle/>
        <a:p>
          <a:r>
            <a:rPr lang="en-IN" dirty="0" smtClean="0"/>
            <a:t>Update NAV </a:t>
          </a:r>
          <a:endParaRPr lang="en-IN" dirty="0"/>
        </a:p>
      </dgm:t>
    </dgm:pt>
    <dgm:pt modelId="{1CC3BD16-62C9-4C58-A7A6-46B2D5B129F8}" type="parTrans" cxnId="{A3695AD8-B09C-444D-865E-DAE54EE94EBA}">
      <dgm:prSet/>
      <dgm:spPr/>
      <dgm:t>
        <a:bodyPr/>
        <a:lstStyle/>
        <a:p>
          <a:endParaRPr lang="en-IN"/>
        </a:p>
      </dgm:t>
    </dgm:pt>
    <dgm:pt modelId="{DB79CB2E-D6E8-4694-A24D-C23DE9E7044B}" type="sibTrans" cxnId="{A3695AD8-B09C-444D-865E-DAE54EE94EBA}">
      <dgm:prSet/>
      <dgm:spPr/>
      <dgm:t>
        <a:bodyPr/>
        <a:lstStyle/>
        <a:p>
          <a:endParaRPr lang="en-IN"/>
        </a:p>
      </dgm:t>
    </dgm:pt>
    <dgm:pt modelId="{1E8525BD-EC19-4B29-B051-CCB3FE2E8BDE}" type="pres">
      <dgm:prSet presAssocID="{1B7052D9-1570-49EA-8941-504494551AB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IN"/>
        </a:p>
      </dgm:t>
    </dgm:pt>
    <dgm:pt modelId="{D8560726-EB55-4E91-BCC0-5BBBBCF7BEEF}" type="pres">
      <dgm:prSet presAssocID="{1B7052D9-1570-49EA-8941-504494551ABC}" presName="Name1" presStyleCnt="0"/>
      <dgm:spPr/>
    </dgm:pt>
    <dgm:pt modelId="{254E0CBC-EFE6-421B-91F6-CE1EB758AB10}" type="pres">
      <dgm:prSet presAssocID="{1B7052D9-1570-49EA-8941-504494551ABC}" presName="cycle" presStyleCnt="0"/>
      <dgm:spPr/>
    </dgm:pt>
    <dgm:pt modelId="{096D653F-54AE-4B86-8445-D93501656565}" type="pres">
      <dgm:prSet presAssocID="{1B7052D9-1570-49EA-8941-504494551ABC}" presName="srcNode" presStyleLbl="node1" presStyleIdx="0" presStyleCnt="4"/>
      <dgm:spPr/>
    </dgm:pt>
    <dgm:pt modelId="{572DD627-B885-413C-B4D8-F2318CB4708A}" type="pres">
      <dgm:prSet presAssocID="{1B7052D9-1570-49EA-8941-504494551ABC}" presName="conn" presStyleLbl="parChTrans1D2" presStyleIdx="0" presStyleCnt="1"/>
      <dgm:spPr/>
      <dgm:t>
        <a:bodyPr/>
        <a:lstStyle/>
        <a:p>
          <a:endParaRPr lang="en-IN"/>
        </a:p>
      </dgm:t>
    </dgm:pt>
    <dgm:pt modelId="{2471A148-F2F8-4F05-98FA-9D47905FD5FA}" type="pres">
      <dgm:prSet presAssocID="{1B7052D9-1570-49EA-8941-504494551ABC}" presName="extraNode" presStyleLbl="node1" presStyleIdx="0" presStyleCnt="4"/>
      <dgm:spPr/>
    </dgm:pt>
    <dgm:pt modelId="{CCB1FE2F-3FA0-44D7-9111-51FA43C4266E}" type="pres">
      <dgm:prSet presAssocID="{1B7052D9-1570-49EA-8941-504494551ABC}" presName="dstNode" presStyleLbl="node1" presStyleIdx="0" presStyleCnt="4"/>
      <dgm:spPr/>
    </dgm:pt>
    <dgm:pt modelId="{64F0074F-0532-4B80-907C-8D214751D143}" type="pres">
      <dgm:prSet presAssocID="{E753D9E4-B481-42BF-87B3-66FEF8B279E9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6FCA7AD-7741-4CA4-ABEA-08D55616E3FB}" type="pres">
      <dgm:prSet presAssocID="{E753D9E4-B481-42BF-87B3-66FEF8B279E9}" presName="accent_1" presStyleCnt="0"/>
      <dgm:spPr/>
    </dgm:pt>
    <dgm:pt modelId="{D9B6E5CF-9342-4DA1-9F33-E5125FD0D735}" type="pres">
      <dgm:prSet presAssocID="{E753D9E4-B481-42BF-87B3-66FEF8B279E9}" presName="accentRepeatNode" presStyleLbl="solidFgAcc1" presStyleIdx="0" presStyleCnt="4"/>
      <dgm:spPr/>
    </dgm:pt>
    <dgm:pt modelId="{99D91257-C4E6-488C-BB0F-01677E9EE552}" type="pres">
      <dgm:prSet presAssocID="{2CBE35D1-1A50-420F-BF6B-C5E916983D33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C3465AA-07D7-453B-A6A6-E06A7D493E9A}" type="pres">
      <dgm:prSet presAssocID="{2CBE35D1-1A50-420F-BF6B-C5E916983D33}" presName="accent_2" presStyleCnt="0"/>
      <dgm:spPr/>
    </dgm:pt>
    <dgm:pt modelId="{F22FAD56-F719-40A0-8730-1820865344BD}" type="pres">
      <dgm:prSet presAssocID="{2CBE35D1-1A50-420F-BF6B-C5E916983D33}" presName="accentRepeatNode" presStyleLbl="solidFgAcc1" presStyleIdx="1" presStyleCnt="4"/>
      <dgm:spPr/>
    </dgm:pt>
    <dgm:pt modelId="{DD03F2CF-703B-40BE-AE48-43D893EEA339}" type="pres">
      <dgm:prSet presAssocID="{A595A0EA-14D5-40AF-8D7F-169BBF8ACBDD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813F8CA-1223-4993-99CF-2A9C0E8C6681}" type="pres">
      <dgm:prSet presAssocID="{A595A0EA-14D5-40AF-8D7F-169BBF8ACBDD}" presName="accent_3" presStyleCnt="0"/>
      <dgm:spPr/>
    </dgm:pt>
    <dgm:pt modelId="{C0385ABA-CAF5-435A-9C2D-F9EFC90541E4}" type="pres">
      <dgm:prSet presAssocID="{A595A0EA-14D5-40AF-8D7F-169BBF8ACBDD}" presName="accentRepeatNode" presStyleLbl="solidFgAcc1" presStyleIdx="2" presStyleCnt="4"/>
      <dgm:spPr/>
    </dgm:pt>
    <dgm:pt modelId="{404622AA-AAF3-4F66-8EFB-381BCBE717F4}" type="pres">
      <dgm:prSet presAssocID="{CCC012CA-B249-4C3B-8B40-B38A21F49715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B40D501-E0E6-4D38-B769-BED4B71D21BE}" type="pres">
      <dgm:prSet presAssocID="{CCC012CA-B249-4C3B-8B40-B38A21F49715}" presName="accent_4" presStyleCnt="0"/>
      <dgm:spPr/>
    </dgm:pt>
    <dgm:pt modelId="{5B116A21-7C11-49B8-95F6-44E67B572BCC}" type="pres">
      <dgm:prSet presAssocID="{CCC012CA-B249-4C3B-8B40-B38A21F49715}" presName="accentRepeatNode" presStyleLbl="solidFgAcc1" presStyleIdx="3" presStyleCnt="4"/>
      <dgm:spPr/>
    </dgm:pt>
  </dgm:ptLst>
  <dgm:cxnLst>
    <dgm:cxn modelId="{70A18125-C16A-4BB3-B61F-F72EC4715555}" type="presOf" srcId="{2CBE35D1-1A50-420F-BF6B-C5E916983D33}" destId="{99D91257-C4E6-488C-BB0F-01677E9EE552}" srcOrd="0" destOrd="0" presId="urn:microsoft.com/office/officeart/2008/layout/VerticalCurvedList"/>
    <dgm:cxn modelId="{58A37BAA-5533-4087-920F-6FE319743595}" type="presOf" srcId="{126DFC56-2045-40A8-91DE-39E7C8C2A93A}" destId="{572DD627-B885-413C-B4D8-F2318CB4708A}" srcOrd="0" destOrd="0" presId="urn:microsoft.com/office/officeart/2008/layout/VerticalCurvedList"/>
    <dgm:cxn modelId="{35FDE603-2D59-44D0-B82B-65349A389D46}" type="presOf" srcId="{A595A0EA-14D5-40AF-8D7F-169BBF8ACBDD}" destId="{DD03F2CF-703B-40BE-AE48-43D893EEA339}" srcOrd="0" destOrd="0" presId="urn:microsoft.com/office/officeart/2008/layout/VerticalCurvedList"/>
    <dgm:cxn modelId="{FE10651B-6A64-4E83-9007-8895798C1303}" srcId="{1B7052D9-1570-49EA-8941-504494551ABC}" destId="{CCC012CA-B249-4C3B-8B40-B38A21F49715}" srcOrd="3" destOrd="0" parTransId="{F31C7BE4-5CD9-4847-8FC0-5F117006E067}" sibTransId="{5DFDECC3-F7ED-459C-A2F6-04FB83D064CC}"/>
    <dgm:cxn modelId="{A3695AD8-B09C-444D-865E-DAE54EE94EBA}" srcId="{1B7052D9-1570-49EA-8941-504494551ABC}" destId="{A595A0EA-14D5-40AF-8D7F-169BBF8ACBDD}" srcOrd="2" destOrd="0" parTransId="{1CC3BD16-62C9-4C58-A7A6-46B2D5B129F8}" sibTransId="{DB79CB2E-D6E8-4694-A24D-C23DE9E7044B}"/>
    <dgm:cxn modelId="{12D660E5-642E-4A8A-9F94-11A6568ACE7E}" srcId="{1B7052D9-1570-49EA-8941-504494551ABC}" destId="{E753D9E4-B481-42BF-87B3-66FEF8B279E9}" srcOrd="0" destOrd="0" parTransId="{79795610-9416-4016-8E2B-93EC83BA33E1}" sibTransId="{126DFC56-2045-40A8-91DE-39E7C8C2A93A}"/>
    <dgm:cxn modelId="{9FB881A7-2B5F-4821-A718-772C2C48A61C}" type="presOf" srcId="{E753D9E4-B481-42BF-87B3-66FEF8B279E9}" destId="{64F0074F-0532-4B80-907C-8D214751D143}" srcOrd="0" destOrd="0" presId="urn:microsoft.com/office/officeart/2008/layout/VerticalCurvedList"/>
    <dgm:cxn modelId="{45A2F6F6-5159-4ED7-B9F3-4984638F3C08}" type="presOf" srcId="{CCC012CA-B249-4C3B-8B40-B38A21F49715}" destId="{404622AA-AAF3-4F66-8EFB-381BCBE717F4}" srcOrd="0" destOrd="0" presId="urn:microsoft.com/office/officeart/2008/layout/VerticalCurvedList"/>
    <dgm:cxn modelId="{1B968585-6668-4B28-BA64-38A10E875EBA}" srcId="{1B7052D9-1570-49EA-8941-504494551ABC}" destId="{2CBE35D1-1A50-420F-BF6B-C5E916983D33}" srcOrd="1" destOrd="0" parTransId="{7E5BB5AE-0D02-438D-A2FC-679388B6CFF8}" sibTransId="{5BA9A28E-ACDE-44DD-A3C4-B4E7ABCDD773}"/>
    <dgm:cxn modelId="{8A3D31DD-235E-42DA-B60F-3718205D51C1}" type="presOf" srcId="{1B7052D9-1570-49EA-8941-504494551ABC}" destId="{1E8525BD-EC19-4B29-B051-CCB3FE2E8BDE}" srcOrd="0" destOrd="0" presId="urn:microsoft.com/office/officeart/2008/layout/VerticalCurvedList"/>
    <dgm:cxn modelId="{F0D3FFB5-8349-495C-AA5D-BD3BA0215522}" type="presParOf" srcId="{1E8525BD-EC19-4B29-B051-CCB3FE2E8BDE}" destId="{D8560726-EB55-4E91-BCC0-5BBBBCF7BEEF}" srcOrd="0" destOrd="0" presId="urn:microsoft.com/office/officeart/2008/layout/VerticalCurvedList"/>
    <dgm:cxn modelId="{F0265E47-C20B-4B44-BB53-EBC02DA97D81}" type="presParOf" srcId="{D8560726-EB55-4E91-BCC0-5BBBBCF7BEEF}" destId="{254E0CBC-EFE6-421B-91F6-CE1EB758AB10}" srcOrd="0" destOrd="0" presId="urn:microsoft.com/office/officeart/2008/layout/VerticalCurvedList"/>
    <dgm:cxn modelId="{15DF476D-8278-4B1E-BFA5-E180CE233E8B}" type="presParOf" srcId="{254E0CBC-EFE6-421B-91F6-CE1EB758AB10}" destId="{096D653F-54AE-4B86-8445-D93501656565}" srcOrd="0" destOrd="0" presId="urn:microsoft.com/office/officeart/2008/layout/VerticalCurvedList"/>
    <dgm:cxn modelId="{5ACBBD43-08BE-48CA-A3C4-63391EA7428C}" type="presParOf" srcId="{254E0CBC-EFE6-421B-91F6-CE1EB758AB10}" destId="{572DD627-B885-413C-B4D8-F2318CB4708A}" srcOrd="1" destOrd="0" presId="urn:microsoft.com/office/officeart/2008/layout/VerticalCurvedList"/>
    <dgm:cxn modelId="{5613E3CE-C36D-436F-8823-25A1E2267759}" type="presParOf" srcId="{254E0CBC-EFE6-421B-91F6-CE1EB758AB10}" destId="{2471A148-F2F8-4F05-98FA-9D47905FD5FA}" srcOrd="2" destOrd="0" presId="urn:microsoft.com/office/officeart/2008/layout/VerticalCurvedList"/>
    <dgm:cxn modelId="{8155E704-DBAC-4A26-8FF9-374E905F1E48}" type="presParOf" srcId="{254E0CBC-EFE6-421B-91F6-CE1EB758AB10}" destId="{CCB1FE2F-3FA0-44D7-9111-51FA43C4266E}" srcOrd="3" destOrd="0" presId="urn:microsoft.com/office/officeart/2008/layout/VerticalCurvedList"/>
    <dgm:cxn modelId="{B5A65CEE-31DA-40D8-B5F2-4369E8FC7FE0}" type="presParOf" srcId="{D8560726-EB55-4E91-BCC0-5BBBBCF7BEEF}" destId="{64F0074F-0532-4B80-907C-8D214751D143}" srcOrd="1" destOrd="0" presId="urn:microsoft.com/office/officeart/2008/layout/VerticalCurvedList"/>
    <dgm:cxn modelId="{1A09AD51-AB6A-480C-ACE3-8CAA59DC0AF0}" type="presParOf" srcId="{D8560726-EB55-4E91-BCC0-5BBBBCF7BEEF}" destId="{96FCA7AD-7741-4CA4-ABEA-08D55616E3FB}" srcOrd="2" destOrd="0" presId="urn:microsoft.com/office/officeart/2008/layout/VerticalCurvedList"/>
    <dgm:cxn modelId="{0E525B65-30BD-4E39-ACC2-B2A518D1CD61}" type="presParOf" srcId="{96FCA7AD-7741-4CA4-ABEA-08D55616E3FB}" destId="{D9B6E5CF-9342-4DA1-9F33-E5125FD0D735}" srcOrd="0" destOrd="0" presId="urn:microsoft.com/office/officeart/2008/layout/VerticalCurvedList"/>
    <dgm:cxn modelId="{C3904252-0D48-4B8E-9285-F208C120F1EB}" type="presParOf" srcId="{D8560726-EB55-4E91-BCC0-5BBBBCF7BEEF}" destId="{99D91257-C4E6-488C-BB0F-01677E9EE552}" srcOrd="3" destOrd="0" presId="urn:microsoft.com/office/officeart/2008/layout/VerticalCurvedList"/>
    <dgm:cxn modelId="{D4E032D5-58C2-4406-83D1-7DF7EAA7B23C}" type="presParOf" srcId="{D8560726-EB55-4E91-BCC0-5BBBBCF7BEEF}" destId="{CC3465AA-07D7-453B-A6A6-E06A7D493E9A}" srcOrd="4" destOrd="0" presId="urn:microsoft.com/office/officeart/2008/layout/VerticalCurvedList"/>
    <dgm:cxn modelId="{48B72B4C-844F-49B5-861A-E0F1ACF3C135}" type="presParOf" srcId="{CC3465AA-07D7-453B-A6A6-E06A7D493E9A}" destId="{F22FAD56-F719-40A0-8730-1820865344BD}" srcOrd="0" destOrd="0" presId="urn:microsoft.com/office/officeart/2008/layout/VerticalCurvedList"/>
    <dgm:cxn modelId="{B6F8F9DF-6B54-4085-889A-B441C07B10D6}" type="presParOf" srcId="{D8560726-EB55-4E91-BCC0-5BBBBCF7BEEF}" destId="{DD03F2CF-703B-40BE-AE48-43D893EEA339}" srcOrd="5" destOrd="0" presId="urn:microsoft.com/office/officeart/2008/layout/VerticalCurvedList"/>
    <dgm:cxn modelId="{65EB9C51-15E8-4F2A-A2FA-E6EB608830AB}" type="presParOf" srcId="{D8560726-EB55-4E91-BCC0-5BBBBCF7BEEF}" destId="{2813F8CA-1223-4993-99CF-2A9C0E8C6681}" srcOrd="6" destOrd="0" presId="urn:microsoft.com/office/officeart/2008/layout/VerticalCurvedList"/>
    <dgm:cxn modelId="{C5129160-7D20-4D2D-8AE9-3FDF872C9739}" type="presParOf" srcId="{2813F8CA-1223-4993-99CF-2A9C0E8C6681}" destId="{C0385ABA-CAF5-435A-9C2D-F9EFC90541E4}" srcOrd="0" destOrd="0" presId="urn:microsoft.com/office/officeart/2008/layout/VerticalCurvedList"/>
    <dgm:cxn modelId="{A58B6A15-07CE-4798-967B-D5D93928B37C}" type="presParOf" srcId="{D8560726-EB55-4E91-BCC0-5BBBBCF7BEEF}" destId="{404622AA-AAF3-4F66-8EFB-381BCBE717F4}" srcOrd="7" destOrd="0" presId="urn:microsoft.com/office/officeart/2008/layout/VerticalCurvedList"/>
    <dgm:cxn modelId="{59F66580-8952-4839-9D03-5683D8AB55C4}" type="presParOf" srcId="{D8560726-EB55-4E91-BCC0-5BBBBCF7BEEF}" destId="{CB40D501-E0E6-4D38-B769-BED4B71D21BE}" srcOrd="8" destOrd="0" presId="urn:microsoft.com/office/officeart/2008/layout/VerticalCurvedList"/>
    <dgm:cxn modelId="{8FBEC8C3-69A0-4839-82BA-166A9FEFBDD0}" type="presParOf" srcId="{CB40D501-E0E6-4D38-B769-BED4B71D21BE}" destId="{5B116A21-7C11-49B8-95F6-44E67B572BC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31/10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31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6604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4991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4941168"/>
            <a:ext cx="3408685" cy="191683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149438" y="3212976"/>
            <a:ext cx="8515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dirty="0">
                <a:solidFill>
                  <a:srgbClr val="000080"/>
                </a:solidFill>
              </a:rPr>
              <a:t>Integrated Banking </a:t>
            </a:r>
            <a:r>
              <a:rPr lang="en-IN" sz="4400" dirty="0" smtClean="0">
                <a:solidFill>
                  <a:srgbClr val="000080"/>
                </a:solidFill>
              </a:rPr>
              <a:t>System</a:t>
            </a:r>
            <a:endParaRPr lang="en-IN" sz="4400" dirty="0">
              <a:solidFill>
                <a:srgbClr val="00008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4" y="476672"/>
            <a:ext cx="2544059" cy="25440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36160" y="5699529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rgbClr val="007DB7"/>
                </a:solidFill>
              </a:rPr>
              <a:t>Location: </a:t>
            </a:r>
            <a:r>
              <a:rPr lang="en-IN" sz="2000" dirty="0" err="1" smtClean="0">
                <a:solidFill>
                  <a:srgbClr val="007DB7"/>
                </a:solidFill>
              </a:rPr>
              <a:t>Talwade,Pune</a:t>
            </a:r>
            <a:endParaRPr lang="en-IN" sz="2000" dirty="0">
              <a:solidFill>
                <a:srgbClr val="007D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17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Linking Tables 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23392" y="1556792"/>
            <a:ext cx="3744416" cy="44644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839416" y="1844824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err="1" smtClean="0">
                <a:solidFill>
                  <a:schemeClr val="bg1"/>
                </a:solidFill>
              </a:rPr>
              <a:t>Transaction_Bean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3432" y="2420888"/>
            <a:ext cx="309634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>
                <a:solidFill>
                  <a:schemeClr val="bg1"/>
                </a:solidFill>
              </a:rPr>
              <a:t>Transaction_type</a:t>
            </a: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>
                <a:solidFill>
                  <a:schemeClr val="bg1"/>
                </a:solidFill>
              </a:rPr>
              <a:t>Transaction_date_time</a:t>
            </a: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>
                <a:solidFill>
                  <a:schemeClr val="bg1"/>
                </a:solidFill>
              </a:rPr>
              <a:t>Transaction_desc</a:t>
            </a: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>
                <a:solidFill>
                  <a:schemeClr val="bg1"/>
                </a:solidFill>
              </a:rPr>
              <a:t>Transaction_amount</a:t>
            </a: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Un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 smtClean="0">
                <a:solidFill>
                  <a:schemeClr val="bg1"/>
                </a:solidFill>
              </a:rPr>
              <a:t>Price_per_unit</a:t>
            </a: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915980" y="2819837"/>
            <a:ext cx="2232248" cy="2088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12"/>
          <p:cNvSpPr/>
          <p:nvPr/>
        </p:nvSpPr>
        <p:spPr>
          <a:xfrm>
            <a:off x="9012323" y="2812487"/>
            <a:ext cx="2448273" cy="2088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TextBox 14"/>
          <p:cNvSpPr txBox="1"/>
          <p:nvPr/>
        </p:nvSpPr>
        <p:spPr>
          <a:xfrm>
            <a:off x="6015856" y="2907521"/>
            <a:ext cx="1872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 smtClean="0">
                <a:solidFill>
                  <a:schemeClr val="bg1"/>
                </a:solidFill>
              </a:rPr>
              <a:t>Transaction</a:t>
            </a: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012323" y="2812487"/>
            <a:ext cx="2448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 err="1" smtClean="0">
                <a:solidFill>
                  <a:schemeClr val="bg1"/>
                </a:solidFill>
              </a:rPr>
              <a:t>Transaction_extended</a:t>
            </a: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15857" y="3276853"/>
            <a:ext cx="208823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rgbClr val="FFFF00"/>
                </a:solidFill>
              </a:rPr>
              <a:t>Trans_ID</a:t>
            </a:r>
            <a:r>
              <a:rPr lang="en-IN" sz="1400" dirty="0" smtClean="0">
                <a:solidFill>
                  <a:srgbClr val="FFFF00"/>
                </a:solidFill>
              </a:rPr>
              <a:t>         P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chemeClr val="bg1"/>
                </a:solidFill>
              </a:rPr>
              <a:t>Trans_date</a:t>
            </a:r>
            <a:endParaRPr lang="en-IN" sz="14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bg1"/>
                </a:solidFill>
              </a:rPr>
              <a:t>Descri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bg1"/>
                </a:solidFill>
              </a:rPr>
              <a:t>Amou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chemeClr val="bg1"/>
                </a:solidFill>
              </a:rPr>
              <a:t>Trans_type</a:t>
            </a:r>
            <a:endParaRPr lang="en-IN" sz="14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chemeClr val="bg1"/>
                </a:solidFill>
              </a:rPr>
              <a:t>Account_no</a:t>
            </a:r>
            <a:endParaRPr lang="en-IN" sz="14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chemeClr val="bg1"/>
                </a:solidFill>
              </a:rPr>
              <a:t>Trans_mode</a:t>
            </a: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014307" y="3273534"/>
            <a:ext cx="2448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rgbClr val="FFFF00"/>
                </a:solidFill>
              </a:rPr>
              <a:t>Trans_ID</a:t>
            </a:r>
            <a:r>
              <a:rPr lang="en-IN" sz="1400" dirty="0" smtClean="0">
                <a:solidFill>
                  <a:srgbClr val="FFFF00"/>
                </a:solidFill>
              </a:rPr>
              <a:t>         PK,F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smtClean="0">
                <a:solidFill>
                  <a:schemeClr val="bg1"/>
                </a:solidFill>
              </a:rPr>
              <a:t>Un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 err="1" smtClean="0">
                <a:solidFill>
                  <a:schemeClr val="bg1"/>
                </a:solidFill>
              </a:rPr>
              <a:t>Price_per_unit</a:t>
            </a:r>
            <a:endParaRPr lang="en-IN" sz="1400" dirty="0">
              <a:solidFill>
                <a:schemeClr val="bg1"/>
              </a:solidFill>
            </a:endParaRPr>
          </a:p>
        </p:txBody>
      </p:sp>
      <p:cxnSp>
        <p:nvCxnSpPr>
          <p:cNvPr id="26" name="Straight Arrow Connector 25"/>
          <p:cNvCxnSpPr>
            <a:stCxn id="13" idx="1"/>
            <a:endCxn id="12" idx="3"/>
          </p:cNvCxnSpPr>
          <p:nvPr/>
        </p:nvCxnSpPr>
        <p:spPr>
          <a:xfrm flipH="1">
            <a:off x="8148228" y="3856603"/>
            <a:ext cx="864095" cy="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ight Arrow 29"/>
          <p:cNvSpPr/>
          <p:nvPr/>
        </p:nvSpPr>
        <p:spPr>
          <a:xfrm>
            <a:off x="4511824" y="3564126"/>
            <a:ext cx="936104" cy="5849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09611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Data Forma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551384" y="1412776"/>
            <a:ext cx="11089232" cy="19442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804516" y="1556792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/>
              <a:t>mfId</a:t>
            </a:r>
            <a:r>
              <a:rPr lang="en-IN" dirty="0" smtClean="0"/>
              <a:t> 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3287688" y="1556792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/>
              <a:t>Nav</a:t>
            </a: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5738168" y="1556792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8544272" y="1556792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Box 11"/>
          <p:cNvSpPr txBox="1"/>
          <p:nvPr/>
        </p:nvSpPr>
        <p:spPr>
          <a:xfrm>
            <a:off x="5803535" y="1556792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Opening date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688288" y="1556792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Closing date</a:t>
            </a:r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1055440" y="2276872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055440" y="2564904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055440" y="2924944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079776" y="2276872"/>
            <a:ext cx="15121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575720" y="2564904"/>
            <a:ext cx="129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575720" y="2924944"/>
            <a:ext cx="1260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456040" y="2276872"/>
            <a:ext cx="16561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5990196" y="2564904"/>
            <a:ext cx="16561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456040" y="2924944"/>
            <a:ext cx="16561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9120336" y="2276872"/>
            <a:ext cx="1728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9192344" y="2568476"/>
            <a:ext cx="1728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8762156" y="2924944"/>
            <a:ext cx="1728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228" y="4221088"/>
            <a:ext cx="11339543" cy="2188654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804516" y="4509120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/>
              <a:t>mfId</a:t>
            </a:r>
            <a:r>
              <a:rPr lang="en-IN" dirty="0" smtClean="0"/>
              <a:t> </a:t>
            </a:r>
            <a:endParaRPr lang="en-IN" dirty="0"/>
          </a:p>
        </p:txBody>
      </p:sp>
      <p:sp>
        <p:nvSpPr>
          <p:cNvPr id="42" name="Rectangle 41"/>
          <p:cNvSpPr/>
          <p:nvPr/>
        </p:nvSpPr>
        <p:spPr>
          <a:xfrm>
            <a:off x="3566096" y="4509120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err="1" smtClean="0"/>
              <a:t>Nav</a:t>
            </a:r>
            <a:endParaRPr lang="en-IN" dirty="0"/>
          </a:p>
        </p:txBody>
      </p:sp>
      <p:sp>
        <p:nvSpPr>
          <p:cNvPr id="43" name="Rectangle 42"/>
          <p:cNvSpPr/>
          <p:nvPr/>
        </p:nvSpPr>
        <p:spPr>
          <a:xfrm>
            <a:off x="6095999" y="4509120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Rectangle 43"/>
          <p:cNvSpPr/>
          <p:nvPr/>
        </p:nvSpPr>
        <p:spPr>
          <a:xfrm>
            <a:off x="8850932" y="4509120"/>
            <a:ext cx="2160240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TextBox 45"/>
          <p:cNvSpPr txBox="1"/>
          <p:nvPr/>
        </p:nvSpPr>
        <p:spPr>
          <a:xfrm>
            <a:off x="6204011" y="454047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Opening date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976320" y="457183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Closing date</a:t>
            </a:r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1194756" y="5315415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194756" y="5733256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3858916" y="5322230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3858916" y="5733256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367518" y="5315415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6376975" y="5727371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9246976" y="5322230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9272736" y="5727371"/>
            <a:ext cx="1368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Down Arrow 56"/>
          <p:cNvSpPr/>
          <p:nvPr/>
        </p:nvSpPr>
        <p:spPr>
          <a:xfrm>
            <a:off x="5303912" y="3501008"/>
            <a:ext cx="499623" cy="5760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7313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Time Date Forma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911424" y="2276872"/>
            <a:ext cx="3744416" cy="22322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bg1"/>
                </a:solidFill>
              </a:rPr>
              <a:t>Time Stamp Format</a:t>
            </a: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  <a:p>
            <a:pPr algn="ctr"/>
            <a:r>
              <a:rPr lang="en-IN" dirty="0" smtClean="0">
                <a:solidFill>
                  <a:schemeClr val="bg1"/>
                </a:solidFill>
              </a:rPr>
              <a:t>2019-01-01 14:59:48:456+01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44072" y="2276872"/>
            <a:ext cx="3744416" cy="22322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solidFill>
                  <a:schemeClr val="bg1"/>
                </a:solidFill>
              </a:rPr>
              <a:t>Date Time</a:t>
            </a:r>
          </a:p>
          <a:p>
            <a:pPr algn="ctr"/>
            <a:endParaRPr lang="en-IN" dirty="0" smtClean="0">
              <a:solidFill>
                <a:schemeClr val="bg1"/>
              </a:solidFill>
            </a:endParaRPr>
          </a:p>
          <a:p>
            <a:pPr algn="ctr"/>
            <a:r>
              <a:rPr lang="en-IN" dirty="0" smtClean="0">
                <a:solidFill>
                  <a:schemeClr val="bg1"/>
                </a:solidFill>
              </a:rPr>
              <a:t>01/01/2019 14:29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5303912" y="3140968"/>
            <a:ext cx="7200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51260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Adding a new Bank Representative method to update NAV of existing plans.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Adding a new Customer method to link new account.</a:t>
            </a:r>
            <a:endParaRPr lang="en-IN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dditions in this Spr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47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924228"/>
          </a:xfrm>
        </p:spPr>
        <p:txBody>
          <a:bodyPr/>
          <a:lstStyle/>
          <a:p>
            <a:pPr algn="ctr"/>
            <a:r>
              <a:rPr lang="en-IN" dirty="0" smtClean="0"/>
              <a:t>New Functionality : Update NAV 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032404" y="1964738"/>
            <a:ext cx="3456384" cy="30012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val 5"/>
          <p:cNvSpPr/>
          <p:nvPr/>
        </p:nvSpPr>
        <p:spPr>
          <a:xfrm>
            <a:off x="1121658" y="2482210"/>
            <a:ext cx="1440160" cy="187220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1237670" y="2818149"/>
            <a:ext cx="1296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No Profit or Loss for Customer</a:t>
            </a:r>
            <a:endParaRPr lang="en-IN" dirty="0"/>
          </a:p>
        </p:txBody>
      </p:sp>
      <p:sp>
        <p:nvSpPr>
          <p:cNvPr id="9" name="Oval 8"/>
          <p:cNvSpPr/>
          <p:nvPr/>
        </p:nvSpPr>
        <p:spPr>
          <a:xfrm>
            <a:off x="2805223" y="2748796"/>
            <a:ext cx="1440160" cy="1288256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TextBox 15"/>
          <p:cNvSpPr txBox="1"/>
          <p:nvPr/>
        </p:nvSpPr>
        <p:spPr>
          <a:xfrm>
            <a:off x="2863442" y="3100536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 smtClean="0"/>
              <a:t>NAV VALUE FIXED</a:t>
            </a:r>
            <a:endParaRPr lang="en-IN" sz="1600" dirty="0"/>
          </a:p>
        </p:txBody>
      </p:sp>
      <p:sp>
        <p:nvSpPr>
          <p:cNvPr id="24" name="Rectangle 23"/>
          <p:cNvSpPr/>
          <p:nvPr/>
        </p:nvSpPr>
        <p:spPr>
          <a:xfrm>
            <a:off x="7392144" y="1435120"/>
            <a:ext cx="3456384" cy="21602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Oval 24"/>
          <p:cNvSpPr/>
          <p:nvPr/>
        </p:nvSpPr>
        <p:spPr>
          <a:xfrm>
            <a:off x="7418784" y="1579136"/>
            <a:ext cx="1440160" cy="187220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Oval 25"/>
          <p:cNvSpPr/>
          <p:nvPr/>
        </p:nvSpPr>
        <p:spPr>
          <a:xfrm>
            <a:off x="9287111" y="1871112"/>
            <a:ext cx="1440160" cy="1288256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TextBox 27"/>
          <p:cNvSpPr txBox="1"/>
          <p:nvPr/>
        </p:nvSpPr>
        <p:spPr>
          <a:xfrm>
            <a:off x="7488921" y="2098703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Profit for customer</a:t>
            </a:r>
            <a:endParaRPr lang="en-IN" dirty="0"/>
          </a:p>
        </p:txBody>
      </p:sp>
      <p:sp>
        <p:nvSpPr>
          <p:cNvPr id="29" name="TextBox 28"/>
          <p:cNvSpPr txBox="1"/>
          <p:nvPr/>
        </p:nvSpPr>
        <p:spPr>
          <a:xfrm>
            <a:off x="9416845" y="2098702"/>
            <a:ext cx="13141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NAV Increases</a:t>
            </a:r>
            <a:endParaRPr lang="en-IN" dirty="0"/>
          </a:p>
        </p:txBody>
      </p:sp>
      <p:sp>
        <p:nvSpPr>
          <p:cNvPr id="30" name="Rectangle 29"/>
          <p:cNvSpPr/>
          <p:nvPr/>
        </p:nvSpPr>
        <p:spPr>
          <a:xfrm>
            <a:off x="7392144" y="4037052"/>
            <a:ext cx="3456384" cy="21602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Oval 30"/>
          <p:cNvSpPr/>
          <p:nvPr/>
        </p:nvSpPr>
        <p:spPr>
          <a:xfrm>
            <a:off x="7469407" y="4173180"/>
            <a:ext cx="1440160" cy="1872208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2" name="Oval 31"/>
          <p:cNvSpPr/>
          <p:nvPr/>
        </p:nvSpPr>
        <p:spPr>
          <a:xfrm>
            <a:off x="9313671" y="4453021"/>
            <a:ext cx="1440160" cy="1288256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4" name="TextBox 33"/>
          <p:cNvSpPr txBox="1"/>
          <p:nvPr/>
        </p:nvSpPr>
        <p:spPr>
          <a:xfrm>
            <a:off x="9367446" y="4773983"/>
            <a:ext cx="13598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NAV Decreases</a:t>
            </a:r>
            <a:endParaRPr lang="en-IN" dirty="0"/>
          </a:p>
        </p:txBody>
      </p:sp>
      <p:sp>
        <p:nvSpPr>
          <p:cNvPr id="35" name="TextBox 34"/>
          <p:cNvSpPr txBox="1"/>
          <p:nvPr/>
        </p:nvSpPr>
        <p:spPr>
          <a:xfrm>
            <a:off x="7576616" y="4719937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Loss for customer</a:t>
            </a:r>
            <a:endParaRPr lang="en-IN" dirty="0"/>
          </a:p>
        </p:txBody>
      </p:sp>
      <p:sp>
        <p:nvSpPr>
          <p:cNvPr id="37" name="Right Arrow 36"/>
          <p:cNvSpPr/>
          <p:nvPr/>
        </p:nvSpPr>
        <p:spPr>
          <a:xfrm>
            <a:off x="5256390" y="3465381"/>
            <a:ext cx="1368152" cy="6239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94415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/>
              <a:t>New Functionality : </a:t>
            </a:r>
            <a:r>
              <a:rPr lang="en-IN" dirty="0" smtClean="0"/>
              <a:t>Switch Accoun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1271464" y="2708920"/>
            <a:ext cx="2232248" cy="12241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1487488" y="3028600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dirty="0" smtClean="0">
                <a:solidFill>
                  <a:schemeClr val="bg1"/>
                </a:solidFill>
              </a:rPr>
              <a:t>UCI</a:t>
            </a:r>
            <a:endParaRPr lang="en-IN" sz="32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83264" y="1326099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7683264" y="2850228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7683264" y="4509208"/>
            <a:ext cx="266429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Box 9"/>
          <p:cNvSpPr txBox="1"/>
          <p:nvPr/>
        </p:nvSpPr>
        <p:spPr>
          <a:xfrm>
            <a:off x="7683264" y="1589770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1</a:t>
            </a:r>
            <a:endParaRPr lang="en-IN" sz="28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83264" y="4787658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3</a:t>
            </a:r>
            <a:endParaRPr lang="en-IN" sz="28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83264" y="3123158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 smtClean="0">
                <a:solidFill>
                  <a:schemeClr val="bg1"/>
                </a:solidFill>
              </a:rPr>
              <a:t>Account 2</a:t>
            </a:r>
            <a:endParaRPr lang="en-IN" sz="2800" dirty="0">
              <a:solidFill>
                <a:schemeClr val="bg1"/>
              </a:solidFill>
            </a:endParaRPr>
          </a:p>
        </p:txBody>
      </p:sp>
      <p:cxnSp>
        <p:nvCxnSpPr>
          <p:cNvPr id="14" name="Straight Arrow Connector 13"/>
          <p:cNvCxnSpPr>
            <a:stCxn id="5" idx="3"/>
            <a:endCxn id="10" idx="1"/>
          </p:cNvCxnSpPr>
          <p:nvPr/>
        </p:nvCxnSpPr>
        <p:spPr>
          <a:xfrm flipV="1">
            <a:off x="3503712" y="1851380"/>
            <a:ext cx="4179552" cy="1469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5" idx="3"/>
            <a:endCxn id="11" idx="1"/>
          </p:cNvCxnSpPr>
          <p:nvPr/>
        </p:nvCxnSpPr>
        <p:spPr>
          <a:xfrm>
            <a:off x="3503712" y="3320988"/>
            <a:ext cx="4179552" cy="172828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5" idx="3"/>
            <a:endCxn id="12" idx="1"/>
          </p:cNvCxnSpPr>
          <p:nvPr/>
        </p:nvCxnSpPr>
        <p:spPr>
          <a:xfrm>
            <a:off x="3503712" y="3320988"/>
            <a:ext cx="4179552" cy="63780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321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3" y="0"/>
            <a:ext cx="9433048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07368" y="116632"/>
            <a:ext cx="2016224" cy="86409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2400" dirty="0" smtClean="0">
                <a:solidFill>
                  <a:schemeClr val="accent1"/>
                </a:solidFill>
              </a:rPr>
              <a:t>Schema Diagram</a:t>
            </a:r>
            <a:endParaRPr lang="en-IN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0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75720" y="2708920"/>
            <a:ext cx="410445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5000" dirty="0" smtClean="0">
                <a:solidFill>
                  <a:srgbClr val="0070AD"/>
                </a:solidFill>
              </a:rPr>
              <a:t>Thank You</a:t>
            </a:r>
            <a:endParaRPr lang="en-IN" sz="5000" dirty="0">
              <a:solidFill>
                <a:srgbClr val="0070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24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2733675"/>
            <a:ext cx="7334250" cy="412432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511824" y="538700"/>
            <a:ext cx="6192688" cy="19442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4871864" y="849089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dirty="0">
                <a:solidFill>
                  <a:schemeClr val="bg1"/>
                </a:solidFill>
              </a:rPr>
              <a:t>Integrated Banking </a:t>
            </a:r>
            <a:r>
              <a:rPr lang="en-IN" sz="4000" dirty="0" smtClean="0">
                <a:solidFill>
                  <a:schemeClr val="bg1"/>
                </a:solidFill>
              </a:rPr>
              <a:t>System</a:t>
            </a:r>
            <a:endParaRPr lang="en-IN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45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8" y="0"/>
            <a:ext cx="11197243" cy="1628800"/>
          </a:xfrm>
        </p:spPr>
        <p:txBody>
          <a:bodyPr/>
          <a:lstStyle/>
          <a:p>
            <a:pPr algn="ctr"/>
            <a:r>
              <a:rPr lang="en-US" b="1" dirty="0"/>
              <a:t>Integrated Banking </a:t>
            </a:r>
            <a:r>
              <a:rPr lang="en-US" b="1" dirty="0" smtClean="0"/>
              <a:t>Syste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91344" y="1412776"/>
            <a:ext cx="11700000" cy="4868777"/>
          </a:xfrm>
        </p:spPr>
        <p:txBody>
          <a:bodyPr>
            <a:normAutofit/>
          </a:bodyPr>
          <a:lstStyle/>
          <a:p>
            <a:pPr algn="ctr"/>
            <a:endParaRPr lang="en-US" sz="2400" b="1" u="sng" dirty="0" smtClean="0"/>
          </a:p>
          <a:p>
            <a:r>
              <a:rPr lang="en-US" sz="2400" b="1" dirty="0"/>
              <a:t> </a:t>
            </a:r>
            <a:r>
              <a:rPr lang="en-US" sz="2400" b="1" u="sng" dirty="0" smtClean="0"/>
              <a:t>Statement</a:t>
            </a:r>
            <a:r>
              <a:rPr lang="en-US" b="1" u="sng" dirty="0" smtClean="0"/>
              <a:t> </a:t>
            </a:r>
            <a:endParaRPr lang="en-US" sz="1000" b="1" u="sng" dirty="0" smtClean="0"/>
          </a:p>
          <a:p>
            <a:pPr marL="342900" indent="-342900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b="1" dirty="0"/>
              <a:t>IBS (Integrated Banking System) </a:t>
            </a:r>
            <a:r>
              <a:rPr lang="en-US" dirty="0"/>
              <a:t>is going to be a web application to offer various banking services online</a:t>
            </a:r>
            <a:r>
              <a:rPr lang="en-US" dirty="0" smtClean="0"/>
              <a:t>.</a:t>
            </a:r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marL="88900" lvl="1" indent="0" algn="ctr">
              <a:buNone/>
            </a:pPr>
            <a:r>
              <a:rPr lang="en-IN" dirty="0" smtClean="0"/>
              <a:t>    									</a:t>
            </a:r>
            <a:r>
              <a:rPr lang="en-IN" b="1" dirty="0" smtClean="0"/>
              <a:t>Team Members</a:t>
            </a:r>
          </a:p>
          <a:p>
            <a:pPr marL="88900" lvl="1" indent="0" algn="ctr">
              <a:buNone/>
            </a:pPr>
            <a:r>
              <a:rPr lang="en-IN" dirty="0" smtClean="0"/>
              <a:t>									</a:t>
            </a:r>
            <a:r>
              <a:rPr lang="en-IN" dirty="0" err="1" smtClean="0"/>
              <a:t>Sharad</a:t>
            </a:r>
            <a:r>
              <a:rPr lang="en-IN" dirty="0" smtClean="0"/>
              <a:t> </a:t>
            </a:r>
            <a:r>
              <a:rPr lang="en-IN" dirty="0" err="1" smtClean="0"/>
              <a:t>Soni</a:t>
            </a:r>
            <a:endParaRPr lang="en-IN" dirty="0" smtClean="0"/>
          </a:p>
          <a:p>
            <a:pPr lvl="1" indent="0" algn="ctr">
              <a:buNone/>
            </a:pPr>
            <a:r>
              <a:rPr lang="en-IN" dirty="0" smtClean="0"/>
              <a:t>									</a:t>
            </a:r>
            <a:r>
              <a:rPr lang="en-IN" dirty="0" err="1" smtClean="0"/>
              <a:t>Manvi</a:t>
            </a:r>
            <a:r>
              <a:rPr lang="en-IN" dirty="0" smtClean="0"/>
              <a:t> Singh</a:t>
            </a:r>
          </a:p>
          <a:p>
            <a:pPr lvl="1" indent="0" algn="ctr">
              <a:buNone/>
            </a:pPr>
            <a:r>
              <a:rPr lang="en-IN" dirty="0" smtClean="0"/>
              <a:t>								          Kali Prasad</a:t>
            </a:r>
          </a:p>
          <a:p>
            <a:pPr lvl="1" indent="0" algn="ctr">
              <a:buNone/>
            </a:pPr>
            <a:r>
              <a:rPr lang="en-IN" dirty="0" smtClean="0"/>
              <a:t>                                                                                                            Mukul </a:t>
            </a:r>
            <a:r>
              <a:rPr lang="en-IN" dirty="0" err="1" smtClean="0"/>
              <a:t>Maheshwari</a:t>
            </a:r>
            <a:endParaRPr lang="en-IN" dirty="0" smtClean="0"/>
          </a:p>
          <a:p>
            <a:pPr lvl="1" indent="0" algn="ctr">
              <a:buNone/>
            </a:pPr>
            <a:r>
              <a:rPr lang="en-IN" dirty="0" smtClean="0"/>
              <a:t>                                                                                                     </a:t>
            </a:r>
            <a:r>
              <a:rPr lang="en-IN" dirty="0" err="1" smtClean="0"/>
              <a:t>Priyanka</a:t>
            </a:r>
            <a:r>
              <a:rPr lang="en-IN" dirty="0" smtClean="0"/>
              <a:t> Jain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/>
              <a:t>Integrated Banking Syste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484785"/>
            <a:ext cx="11700000" cy="4796768"/>
          </a:xfrm>
        </p:spPr>
        <p:txBody>
          <a:bodyPr/>
          <a:lstStyle/>
          <a:p>
            <a:pPr algn="ctr"/>
            <a:r>
              <a:rPr lang="en-US" sz="2800" u="sng" dirty="0"/>
              <a:t>Use Case 6: Investment </a:t>
            </a:r>
            <a:r>
              <a:rPr lang="en-US" sz="2800" u="sng" dirty="0" smtClean="0"/>
              <a:t>Management</a:t>
            </a:r>
          </a:p>
          <a:p>
            <a:endParaRPr lang="en-IN" u="sng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Consumers can choose to invest in gold, silver and mutual funds.</a:t>
            </a:r>
            <a:endParaRPr lang="en-IN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Consumers must be able to view the current gold/silver price as on date.</a:t>
            </a:r>
            <a:endParaRPr lang="en-IN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Consumers must be able to see various mutual funds plans offered on IBS.</a:t>
            </a:r>
            <a:endParaRPr lang="en-IN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Bank representative shall be constantly updating the mutual funds plans.</a:t>
            </a:r>
            <a:endParaRPr lang="en-IN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Consumer can purchase gold or silver or deposit in mutual funds.</a:t>
            </a:r>
            <a:endParaRPr lang="en-IN" dirty="0"/>
          </a:p>
          <a:p>
            <a:pPr marL="457200" lvl="0" indent="-457200" algn="just">
              <a:buFont typeface="+mj-lt"/>
              <a:buAutoNum type="arabicPeriod"/>
            </a:pPr>
            <a:r>
              <a:rPr lang="en-US" dirty="0"/>
              <a:t>Consumer can sell gold or silver or withdraw from mutual funds.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8806" y="380112"/>
            <a:ext cx="11125236" cy="1104900"/>
          </a:xfrm>
        </p:spPr>
        <p:txBody>
          <a:bodyPr/>
          <a:lstStyle/>
          <a:p>
            <a:pPr algn="ctr"/>
            <a:r>
              <a:rPr lang="en-IN" u="sng" dirty="0" smtClean="0"/>
              <a:t>Scope</a:t>
            </a:r>
            <a:endParaRPr lang="en-GB" u="sng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48806" y="836712"/>
            <a:ext cx="11557282" cy="4320480"/>
          </a:xfrm>
        </p:spPr>
        <p:txBody>
          <a:bodyPr/>
          <a:lstStyle/>
          <a:p>
            <a:pPr algn="l"/>
            <a:endParaRPr lang="en-US" sz="2000" u="sng" dirty="0" smtClean="0"/>
          </a:p>
          <a:p>
            <a:pPr algn="l"/>
            <a:endParaRPr lang="en-US" sz="2000" u="sng" dirty="0"/>
          </a:p>
          <a:p>
            <a:pPr algn="l"/>
            <a:r>
              <a:rPr lang="en-US" sz="2000" u="sng" dirty="0" smtClean="0">
                <a:solidFill>
                  <a:schemeClr val="tx1"/>
                </a:solidFill>
              </a:rPr>
              <a:t>In </a:t>
            </a:r>
            <a:r>
              <a:rPr lang="en-US" sz="2000" u="sng" dirty="0">
                <a:solidFill>
                  <a:schemeClr val="tx1"/>
                </a:solidFill>
              </a:rPr>
              <a:t>Scope:</a:t>
            </a:r>
            <a:endParaRPr lang="en-IN" sz="2000" dirty="0">
              <a:solidFill>
                <a:schemeClr val="tx1"/>
              </a:solidFill>
            </a:endParaRP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</a:rPr>
              <a:t>All the requirements are fulfilled.</a:t>
            </a:r>
          </a:p>
          <a:p>
            <a:pPr lvl="0" algn="l"/>
            <a:endParaRPr lang="en-IN" sz="1800" dirty="0">
              <a:solidFill>
                <a:schemeClr val="tx1"/>
              </a:solidFill>
            </a:endParaRPr>
          </a:p>
          <a:p>
            <a:pPr algn="l"/>
            <a:r>
              <a:rPr lang="en-US" sz="2000" u="sng" dirty="0">
                <a:solidFill>
                  <a:schemeClr val="tx1"/>
                </a:solidFill>
              </a:rPr>
              <a:t>Out Scope:</a:t>
            </a:r>
            <a:endParaRPr lang="en-IN" sz="2000" dirty="0">
              <a:solidFill>
                <a:schemeClr val="tx1"/>
              </a:solidFill>
            </a:endParaRP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</a:rPr>
              <a:t>No option to invest in SIP (Systematic Investment Plan).</a:t>
            </a:r>
            <a:endParaRPr lang="en-IN" sz="1800" b="0" dirty="0">
              <a:solidFill>
                <a:schemeClr val="tx1"/>
              </a:solidFill>
            </a:endParaRPr>
          </a:p>
          <a:p>
            <a:pPr algn="l"/>
            <a:endParaRPr lang="en-IN" dirty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8806" y="380112"/>
            <a:ext cx="11125236" cy="1104900"/>
          </a:xfrm>
        </p:spPr>
        <p:txBody>
          <a:bodyPr/>
          <a:lstStyle/>
          <a:p>
            <a:pPr algn="ctr"/>
            <a:r>
              <a:rPr lang="en-IN" dirty="0"/>
              <a:t>Assumption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48806" y="836712"/>
            <a:ext cx="11557282" cy="4320480"/>
          </a:xfrm>
        </p:spPr>
        <p:txBody>
          <a:bodyPr/>
          <a:lstStyle/>
          <a:p>
            <a:pPr algn="l"/>
            <a:endParaRPr lang="en-US" sz="2000" b="0" u="sng" dirty="0" smtClean="0"/>
          </a:p>
          <a:p>
            <a:pPr algn="l"/>
            <a:endParaRPr lang="en-US" sz="2000" b="0" u="sng" dirty="0"/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All </a:t>
            </a:r>
            <a:r>
              <a:rPr lang="en-US" sz="2000" b="0" dirty="0">
                <a:solidFill>
                  <a:schemeClr val="tx1"/>
                </a:solidFill>
              </a:rPr>
              <a:t>measurements are in grams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  <a:endParaRPr lang="en-IN" sz="2000" b="0" dirty="0">
              <a:solidFill>
                <a:schemeClr val="tx1"/>
              </a:solidFill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ll the transactions take place in Rupee currency.</a:t>
            </a:r>
            <a:endParaRPr lang="en-IN" sz="2000" b="0" dirty="0">
              <a:solidFill>
                <a:schemeClr val="tx1"/>
              </a:solidFill>
            </a:endParaRP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The price of one unit of a Mutual fund is determined by bank </a:t>
            </a:r>
            <a:r>
              <a:rPr lang="en-US" sz="2000" b="0" dirty="0" smtClean="0">
                <a:solidFill>
                  <a:schemeClr val="tx1"/>
                </a:solidFill>
              </a:rPr>
              <a:t>representative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</a:rPr>
              <a:t>in a particular mutual fund plan.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Customer can withdraw his/her complete investment from a particular mutual fund.</a:t>
            </a:r>
          </a:p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Bank representative cannot delete existing mutual fund plans.</a:t>
            </a:r>
            <a:endParaRPr lang="en-IN" sz="2000" b="0" dirty="0">
              <a:solidFill>
                <a:schemeClr val="tx1"/>
              </a:solidFill>
            </a:endParaRPr>
          </a:p>
          <a:p>
            <a:pPr lvl="0" algn="l"/>
            <a:endParaRPr lang="en-IN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63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692697"/>
            <a:ext cx="11700000" cy="5588856"/>
          </a:xfrm>
        </p:spPr>
        <p:txBody>
          <a:bodyPr/>
          <a:lstStyle/>
          <a:p>
            <a:endParaRPr lang="en-IN" dirty="0"/>
          </a:p>
          <a:p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700808"/>
            <a:ext cx="3025635" cy="3016512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083752961"/>
              </p:ext>
            </p:extLst>
          </p:nvPr>
        </p:nvGraphicFramePr>
        <p:xfrm>
          <a:off x="5519936" y="908720"/>
          <a:ext cx="5904656" cy="4869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630623" y="4976022"/>
            <a:ext cx="1443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Customer</a:t>
            </a:r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2352233" y="53138"/>
            <a:ext cx="734416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dirty="0">
                <a:solidFill>
                  <a:schemeClr val="accent1"/>
                </a:solidFill>
              </a:rPr>
              <a:t>Functions </a:t>
            </a:r>
            <a:r>
              <a:rPr lang="en-IN" sz="2800" dirty="0" smtClean="0">
                <a:solidFill>
                  <a:schemeClr val="accent1"/>
                </a:solidFill>
              </a:rPr>
              <a:t>of A Customer</a:t>
            </a:r>
            <a:endParaRPr lang="en-IN" sz="2800" dirty="0">
              <a:solidFill>
                <a:schemeClr val="accent1"/>
              </a:solidFill>
            </a:endParaRP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5751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92696"/>
            <a:ext cx="11699875" cy="5589042"/>
          </a:xfrm>
        </p:spPr>
        <p:txBody>
          <a:bodyPr>
            <a:normAutofit/>
          </a:bodyPr>
          <a:lstStyle/>
          <a:p>
            <a:pPr algn="ctr"/>
            <a:r>
              <a:rPr lang="en-IN" sz="2800" dirty="0" smtClean="0">
                <a:solidFill>
                  <a:schemeClr val="accent1"/>
                </a:solidFill>
              </a:rPr>
              <a:t>Functions of Bank Representative</a:t>
            </a:r>
            <a:endParaRPr lang="en-IN" sz="2800" dirty="0">
              <a:solidFill>
                <a:schemeClr val="accent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2" y="2348880"/>
            <a:ext cx="2448272" cy="2448272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619730758"/>
              </p:ext>
            </p:extLst>
          </p:nvPr>
        </p:nvGraphicFramePr>
        <p:xfrm>
          <a:off x="4655840" y="1988441"/>
          <a:ext cx="5648176" cy="35014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85008" y="4965262"/>
            <a:ext cx="25782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Bank Representativ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008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Changes Suggested in Last Sprint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IN" dirty="0"/>
              <a:t>1. A line between </a:t>
            </a:r>
            <a:r>
              <a:rPr lang="en-IN" dirty="0" smtClean="0"/>
              <a:t>rows </a:t>
            </a:r>
            <a:r>
              <a:rPr lang="en-IN" dirty="0"/>
              <a:t>and </a:t>
            </a:r>
            <a:r>
              <a:rPr lang="en-IN" dirty="0" smtClean="0"/>
              <a:t>column </a:t>
            </a:r>
            <a:r>
              <a:rPr lang="en-IN" dirty="0"/>
              <a:t>names </a:t>
            </a:r>
          </a:p>
          <a:p>
            <a:pPr>
              <a:lnSpc>
                <a:spcPct val="150000"/>
              </a:lnSpc>
            </a:pPr>
            <a:r>
              <a:rPr lang="en-IN" dirty="0"/>
              <a:t>2. Linking with other </a:t>
            </a:r>
            <a:r>
              <a:rPr lang="en-IN" dirty="0" smtClean="0"/>
              <a:t>use cases</a:t>
            </a:r>
            <a:endParaRPr lang="en-IN" dirty="0"/>
          </a:p>
          <a:p>
            <a:pPr>
              <a:lnSpc>
                <a:spcPct val="150000"/>
              </a:lnSpc>
            </a:pPr>
            <a:r>
              <a:rPr lang="en-IN" dirty="0"/>
              <a:t>3. </a:t>
            </a:r>
            <a:r>
              <a:rPr lang="en-IN" dirty="0" smtClean="0"/>
              <a:t>Proper formatting in Mutual Fund Table</a:t>
            </a:r>
            <a:endParaRPr lang="en-IN" dirty="0"/>
          </a:p>
          <a:p>
            <a:pPr>
              <a:lnSpc>
                <a:spcPct val="150000"/>
              </a:lnSpc>
            </a:pPr>
            <a:r>
              <a:rPr lang="en-IN" dirty="0"/>
              <a:t>4. </a:t>
            </a:r>
            <a:r>
              <a:rPr lang="en-IN" dirty="0" smtClean="0"/>
              <a:t>Transaction date-time </a:t>
            </a:r>
            <a:r>
              <a:rPr lang="en-IN" dirty="0"/>
              <a:t>format ( no need </a:t>
            </a:r>
            <a:r>
              <a:rPr lang="en-IN" dirty="0" smtClean="0"/>
              <a:t>of seconds </a:t>
            </a:r>
            <a:r>
              <a:rPr lang="en-IN" dirty="0"/>
              <a:t>in output)</a:t>
            </a:r>
          </a:p>
        </p:txBody>
      </p:sp>
    </p:spTree>
    <p:extLst>
      <p:ext uri="{BB962C8B-B14F-4D97-AF65-F5344CB8AC3E}">
        <p14:creationId xmlns:p14="http://schemas.microsoft.com/office/powerpoint/2010/main" val="851537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dirty="0" smtClean="0"/>
              <a:t>Table Format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551384" y="1556792"/>
            <a:ext cx="4392488" cy="42484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IN"/>
          </a:p>
        </p:txBody>
      </p:sp>
      <p:sp>
        <p:nvSpPr>
          <p:cNvPr id="6" name="TextBox 5"/>
          <p:cNvSpPr txBox="1"/>
          <p:nvPr/>
        </p:nvSpPr>
        <p:spPr>
          <a:xfrm>
            <a:off x="839416" y="1790011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Column</a:t>
            </a:r>
            <a:r>
              <a:rPr lang="en-IN" sz="2000" dirty="0" smtClean="0"/>
              <a:t> </a:t>
            </a:r>
            <a:r>
              <a:rPr lang="en-IN" sz="2000" dirty="0" smtClean="0">
                <a:solidFill>
                  <a:schemeClr val="bg1"/>
                </a:solidFill>
              </a:rPr>
              <a:t>1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98280" y="1768303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Column</a:t>
            </a:r>
            <a:r>
              <a:rPr lang="en-IN" sz="2000" dirty="0" smtClean="0"/>
              <a:t> </a:t>
            </a:r>
            <a:r>
              <a:rPr lang="en-IN" sz="2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39416" y="2494122"/>
            <a:ext cx="16561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5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74244" y="2494122"/>
            <a:ext cx="16561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5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12024" y="1556792"/>
            <a:ext cx="4392488" cy="42484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IN"/>
          </a:p>
        </p:txBody>
      </p:sp>
      <p:sp>
        <p:nvSpPr>
          <p:cNvPr id="12" name="TextBox 11"/>
          <p:cNvSpPr txBox="1"/>
          <p:nvPr/>
        </p:nvSpPr>
        <p:spPr>
          <a:xfrm>
            <a:off x="6562676" y="1827969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Column</a:t>
            </a:r>
            <a:r>
              <a:rPr lang="en-IN" sz="2000" dirty="0" smtClean="0"/>
              <a:t> </a:t>
            </a:r>
            <a:r>
              <a:rPr lang="en-IN" sz="2000" dirty="0" smtClean="0">
                <a:solidFill>
                  <a:schemeClr val="bg1"/>
                </a:solidFill>
              </a:rPr>
              <a:t>1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904312" y="1827969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Column</a:t>
            </a:r>
            <a:r>
              <a:rPr lang="en-IN" sz="2000" dirty="0" smtClean="0"/>
              <a:t> </a:t>
            </a:r>
            <a:r>
              <a:rPr lang="en-IN" sz="2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562676" y="2507235"/>
            <a:ext cx="16561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5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904312" y="2494122"/>
            <a:ext cx="16561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>
                <a:solidFill>
                  <a:schemeClr val="bg1"/>
                </a:solidFill>
              </a:rPr>
              <a:t>Option 5</a:t>
            </a:r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6562676" y="2348880"/>
            <a:ext cx="3781796" cy="0"/>
          </a:xfrm>
          <a:prstGeom prst="line">
            <a:avLst/>
          </a:prstGeom>
          <a:ln w="38100">
            <a:solidFill>
              <a:schemeClr val="bg1">
                <a:lumMod val="9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ight Arrow 19"/>
          <p:cNvSpPr/>
          <p:nvPr/>
        </p:nvSpPr>
        <p:spPr>
          <a:xfrm>
            <a:off x="5231904" y="3212976"/>
            <a:ext cx="864096" cy="4680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5348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90</TotalTime>
  <Words>458</Words>
  <Application>Microsoft Office PowerPoint</Application>
  <PresentationFormat>Widescreen</PresentationFormat>
  <Paragraphs>164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Verdana</vt:lpstr>
      <vt:lpstr>Wingdings</vt:lpstr>
      <vt:lpstr>Capgemini Master</vt:lpstr>
      <vt:lpstr>think-cell Slide</vt:lpstr>
      <vt:lpstr>PowerPoint Presentation</vt:lpstr>
      <vt:lpstr>Integrated Banking System</vt:lpstr>
      <vt:lpstr>Integrated Banking System</vt:lpstr>
      <vt:lpstr>Scope</vt:lpstr>
      <vt:lpstr>Assumptions</vt:lpstr>
      <vt:lpstr>PowerPoint Presentation</vt:lpstr>
      <vt:lpstr>PowerPoint Presentation</vt:lpstr>
      <vt:lpstr>Changes Suggested in Last Sprint</vt:lpstr>
      <vt:lpstr>Table Format</vt:lpstr>
      <vt:lpstr>Linking Tables </vt:lpstr>
      <vt:lpstr>Data Format</vt:lpstr>
      <vt:lpstr>Time Date Format</vt:lpstr>
      <vt:lpstr>Additions in this Sprint</vt:lpstr>
      <vt:lpstr>New Functionality : Update NAV </vt:lpstr>
      <vt:lpstr>New Functionality : Switch Account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Maheshwari, Mukul</dc:creator>
  <cp:lastModifiedBy>SONI, SHARAD</cp:lastModifiedBy>
  <cp:revision>90</cp:revision>
  <dcterms:created xsi:type="dcterms:W3CDTF">2019-10-22T07:29:09Z</dcterms:created>
  <dcterms:modified xsi:type="dcterms:W3CDTF">2019-10-31T08:11:03Z</dcterms:modified>
</cp:coreProperties>
</file>